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0" r:id="rId2"/>
  </p:sldMasterIdLst>
  <p:notesMasterIdLst>
    <p:notesMasterId r:id="rId5"/>
  </p:notesMasterIdLst>
  <p:handoutMasterIdLst>
    <p:handoutMasterId r:id="rId6"/>
  </p:handoutMasterIdLst>
  <p:sldIdLst>
    <p:sldId id="386" r:id="rId3"/>
    <p:sldId id="363" r:id="rId4"/>
  </p:sldIdLst>
  <p:sldSz cx="12192000" cy="6858000"/>
  <p:notesSz cx="6858000" cy="9144000"/>
  <p:custDataLst>
    <p:tags r:id="rId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F3278E-78F4-4DA8-8B6B-26526A26369D}" v="25" dt="2018-11-05T14:03:24.7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D9689631-7913-6CD1-63C1-AFF5195CBFEB}"/>
    <pc:docChg chg="modSld">
      <pc:chgData name="Christodoulou, Konstantinos" userId="S::kchristodoulou@internal.colt.net::81c234c6-6624-4c83-aac0-9aea992cfbe7" providerId="AD" clId="Web-{D9689631-7913-6CD1-63C1-AFF5195CBFEB}" dt="2018-11-01T13:56:25.856" v="59"/>
      <pc:docMkLst>
        <pc:docMk/>
      </pc:docMkLst>
      <pc:sldChg chg="modSp">
        <pc:chgData name="Christodoulou, Konstantinos" userId="S::kchristodoulou@internal.colt.net::81c234c6-6624-4c83-aac0-9aea992cfbe7" providerId="AD" clId="Web-{D9689631-7913-6CD1-63C1-AFF5195CBFEB}" dt="2018-11-01T13:56:25.856" v="5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D9689631-7913-6CD1-63C1-AFF5195CBFEB}" dt="2018-11-01T13:56:25.856" v="5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46F3278E-78F4-4DA8-8B6B-26526A26369D}"/>
    <pc:docChg chg="modSld">
      <pc:chgData name="Christodoulou, Konstantinos" userId="S::kchristodoulou@internal.colt.net::81c234c6-6624-4c83-aac0-9aea992cfbe7" providerId="AD" clId="Web-{46F3278E-78F4-4DA8-8B6B-26526A26369D}" dt="2018-11-05T14:03:23.698" v="9"/>
      <pc:docMkLst>
        <pc:docMk/>
      </pc:docMkLst>
      <pc:sldChg chg="modSp">
        <pc:chgData name="Christodoulou, Konstantinos" userId="S::kchristodoulou@internal.colt.net::81c234c6-6624-4c83-aac0-9aea992cfbe7" providerId="AD" clId="Web-{46F3278E-78F4-4DA8-8B6B-26526A26369D}" dt="2018-11-05T14:03:23.698" v="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46F3278E-78F4-4DA8-8B6B-26526A26369D}" dt="2018-11-05T14:03:23.698" v="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D9CF84BC-8FE3-2494-71F2-942F5595E11F}"/>
    <pc:docChg chg="modSld">
      <pc:chgData name="Christodoulou, Konstantinos" userId="S::kchristodoulou@internal.colt.net::81c234c6-6624-4c83-aac0-9aea992cfbe7" providerId="AD" clId="Web-{D9CF84BC-8FE3-2494-71F2-942F5595E11F}" dt="2018-11-01T13:57:45.904" v="1"/>
      <pc:docMkLst>
        <pc:docMk/>
      </pc:docMkLst>
      <pc:sldChg chg="modSp">
        <pc:chgData name="Christodoulou, Konstantinos" userId="S::kchristodoulou@internal.colt.net::81c234c6-6624-4c83-aac0-9aea992cfbe7" providerId="AD" clId="Web-{D9CF84BC-8FE3-2494-71F2-942F5595E11F}" dt="2018-11-01T13:57:45.904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D9CF84BC-8FE3-2494-71F2-942F5595E11F}" dt="2018-11-01T13:57:45.904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9125295C-7F8E-2EDF-E0D7-E47C31A4B6FD}"/>
    <pc:docChg chg="modSld">
      <pc:chgData name="Christodoulou, Konstantinos" userId="S::kchristodoulou@internal.colt.net::81c234c6-6624-4c83-aac0-9aea992cfbe7" providerId="AD" clId="Web-{9125295C-7F8E-2EDF-E0D7-E47C31A4B6FD}" dt="2018-11-06T12:08:15.411" v="1"/>
      <pc:docMkLst>
        <pc:docMk/>
      </pc:docMkLst>
      <pc:sldChg chg="modSp">
        <pc:chgData name="Christodoulou, Konstantinos" userId="S::kchristodoulou@internal.colt.net::81c234c6-6624-4c83-aac0-9aea992cfbe7" providerId="AD" clId="Web-{9125295C-7F8E-2EDF-E0D7-E47C31A4B6FD}" dt="2018-11-06T12:08:15.411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9125295C-7F8E-2EDF-E0D7-E47C31A4B6FD}" dt="2018-11-06T12:08:15.411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9C49FB1-EC58-F3E2-15DA-DE5857E9CA66}"/>
    <pc:docChg chg="modSld">
      <pc:chgData name="Christodoulou, Konstantinos" userId="S::kchristodoulou@internal.colt.net::81c234c6-6624-4c83-aac0-9aea992cfbe7" providerId="AD" clId="Web-{A9C49FB1-EC58-F3E2-15DA-DE5857E9CA66}" dt="2019-02-05T09:46:56.018" v="75"/>
      <pc:docMkLst>
        <pc:docMk/>
      </pc:docMkLst>
      <pc:sldChg chg="modSp">
        <pc:chgData name="Christodoulou, Konstantinos" userId="S::kchristodoulou@internal.colt.net::81c234c6-6624-4c83-aac0-9aea992cfbe7" providerId="AD" clId="Web-{A9C49FB1-EC58-F3E2-15DA-DE5857E9CA66}" dt="2019-02-05T09:46:56.018" v="7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9C49FB1-EC58-F3E2-15DA-DE5857E9CA66}" dt="2019-02-05T09:46:56.018" v="7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5-2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5-2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err="1"/>
              <a:t>Don’t</a:t>
            </a:r>
            <a:r>
              <a:rPr lang="nl-NL"/>
              <a:t> delete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layer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/>
              <a:t>(Leeg)</a:t>
            </a:r>
            <a:endParaRPr lang="en-US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Name of speaker</a:t>
            </a:r>
            <a:br>
              <a:rPr lang="en-GB" noProof="0"/>
            </a:br>
            <a:r>
              <a:rPr lang="en-GB" noProof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/>
              <a:t>(Leeg)</a:t>
            </a:r>
            <a:endParaRPr lang="en-US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Name of speaker</a:t>
            </a:r>
            <a:br>
              <a:rPr lang="en-GB" noProof="0"/>
            </a:br>
            <a:r>
              <a:rPr lang="en-GB" noProof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/>
              <a:t>(Leeg)</a:t>
            </a:r>
            <a:endParaRPr lang="en-US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Name of speaker</a:t>
            </a:r>
            <a:br>
              <a:rPr lang="en-GB" noProof="0"/>
            </a:br>
            <a:r>
              <a:rPr lang="en-GB" noProof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err="1"/>
              <a:t>Don’t</a:t>
            </a:r>
            <a:r>
              <a:rPr lang="nl-NL"/>
              <a:t> delete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layer</a:t>
            </a:r>
            <a:endParaRPr lang="en-US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/>
              <a:t>(Leeg)</a:t>
            </a:r>
            <a:endParaRPr lang="en-US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Name of speaker</a:t>
            </a:r>
            <a:br>
              <a:rPr lang="en-GB" noProof="0"/>
            </a:br>
            <a:r>
              <a:rPr lang="en-GB" noProof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err="1"/>
              <a:t>Place</a:t>
            </a:r>
            <a:r>
              <a:rPr lang="nl-NL"/>
              <a:t> a </a:t>
            </a:r>
            <a:r>
              <a:rPr lang="nl-NL" err="1"/>
              <a:t>title</a:t>
            </a:r>
            <a:r>
              <a:rPr lang="nl-NL"/>
              <a:t> or </a:t>
            </a:r>
            <a:r>
              <a:rPr lang="nl-NL" err="1"/>
              <a:t>text</a:t>
            </a:r>
            <a:r>
              <a:rPr lang="nl-NL"/>
              <a:t> here</a:t>
            </a:r>
          </a:p>
          <a:p>
            <a:pPr lvl="1"/>
            <a:r>
              <a:rPr lang="nl-NL" err="1"/>
              <a:t>Place</a:t>
            </a:r>
            <a:r>
              <a:rPr lang="nl-NL"/>
              <a:t> more information or a </a:t>
            </a:r>
            <a:r>
              <a:rPr lang="nl-NL" err="1"/>
              <a:t>subtitle</a:t>
            </a:r>
            <a:endParaRPr lang="nl-NL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1st bullet</a:t>
            </a:r>
          </a:p>
          <a:p>
            <a:pPr lvl="7"/>
            <a:r>
              <a:rPr lang="en-GB" noProof="0"/>
              <a:t>2nd bullet</a:t>
            </a:r>
          </a:p>
          <a:p>
            <a:pPr lvl="8"/>
            <a:r>
              <a:rPr lang="en-GB" noProof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a </a:t>
            </a:r>
            <a:r>
              <a:rPr lang="nl-NL" err="1"/>
              <a:t>title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err="1"/>
              <a:t>Place</a:t>
            </a:r>
            <a:r>
              <a:rPr lang="nl-NL"/>
              <a:t> a </a:t>
            </a:r>
            <a:r>
              <a:rPr lang="nl-NL" err="1"/>
              <a:t>title</a:t>
            </a:r>
            <a:r>
              <a:rPr lang="nl-NL"/>
              <a:t> or </a:t>
            </a:r>
            <a:r>
              <a:rPr lang="nl-NL" err="1"/>
              <a:t>text</a:t>
            </a:r>
            <a:r>
              <a:rPr lang="nl-NL"/>
              <a:t> here</a:t>
            </a:r>
          </a:p>
          <a:p>
            <a:pPr lvl="1"/>
            <a:r>
              <a:rPr lang="nl-NL" err="1"/>
              <a:t>Place</a:t>
            </a:r>
            <a:r>
              <a:rPr lang="nl-NL"/>
              <a:t> more information or a </a:t>
            </a:r>
            <a:r>
              <a:rPr lang="nl-NL" err="1"/>
              <a:t>subtitle</a:t>
            </a:r>
            <a:endParaRPr lang="nl-NL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rd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Enumeration</a:t>
            </a:r>
          </a:p>
          <a:p>
            <a:pPr lvl="7"/>
            <a:r>
              <a:rPr lang="en-GB" noProof="0"/>
              <a:t>Alphabet below enumeration</a:t>
            </a:r>
          </a:p>
          <a:p>
            <a:pPr lvl="8"/>
            <a:r>
              <a:rPr lang="en-GB" noProof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/>
              <a:t>1st bullet</a:t>
            </a:r>
          </a:p>
          <a:p>
            <a:pPr lvl="1"/>
            <a:r>
              <a:rPr lang="en-GB" noProof="0"/>
              <a:t>2nd bullet</a:t>
            </a:r>
          </a:p>
          <a:p>
            <a:pPr lvl="2"/>
            <a:r>
              <a:rPr lang="en-GB" noProof="0"/>
              <a:t>3th bullet</a:t>
            </a:r>
          </a:p>
          <a:p>
            <a:pPr lvl="3"/>
            <a:r>
              <a:rPr lang="en-GB" noProof="0"/>
              <a:t>Plain text</a:t>
            </a:r>
          </a:p>
          <a:p>
            <a:pPr lvl="4"/>
            <a:r>
              <a:rPr lang="en-GB" noProof="0"/>
              <a:t>Header</a:t>
            </a:r>
          </a:p>
          <a:p>
            <a:pPr lvl="5"/>
            <a:r>
              <a:rPr lang="en-GB" noProof="0"/>
              <a:t>Header - Alt</a:t>
            </a:r>
          </a:p>
          <a:p>
            <a:pPr lvl="6"/>
            <a:r>
              <a:rPr lang="en-GB" noProof="0"/>
              <a:t>Enumeration</a:t>
            </a:r>
          </a:p>
          <a:p>
            <a:pPr lvl="7"/>
            <a:r>
              <a:rPr lang="en-GB" noProof="0"/>
              <a:t>Alphabet below enumeration</a:t>
            </a:r>
          </a:p>
          <a:p>
            <a:pPr lvl="8"/>
            <a:r>
              <a:rPr lang="en-GB" noProof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SE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>
                <a:solidFill>
                  <a:schemeClr val="bg1">
                    <a:lumMod val="95000"/>
                  </a:schemeClr>
                </a:solidFill>
              </a:rPr>
              <a:t>Porting Information - Swede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251932"/>
              </p:ext>
            </p:extLst>
          </p:nvPr>
        </p:nvGraphicFramePr>
        <p:xfrm>
          <a:off x="823800" y="910040"/>
          <a:ext cx="10863790" cy="5335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7:0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 Business Hours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30–16:3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20 working days for Geo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5 working days for Non-Geo 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endParaRPr lang="en-GB" sz="14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   under customer facing resources</a:t>
                      </a:r>
                      <a:endParaRPr lang="en-GB" sz="14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days before the start of the porting window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5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u="sng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SE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Colt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.net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FF Number: </a:t>
                      </a:r>
                      <a:r>
                        <a:rPr lang="en-GB" sz="1400" b="0" i="0" u="none" strike="noStrike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46 20012375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661" y="3233846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2889317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Corporate template-set COLT</vt:lpstr>
      <vt:lpstr>1_Corporate template-set COLT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revision>30</cp:revision>
  <dcterms:created xsi:type="dcterms:W3CDTF">2017-08-30T16:21:34Z</dcterms:created>
  <dcterms:modified xsi:type="dcterms:W3CDTF">2019-02-05T09:49:24Z</dcterms:modified>
</cp:coreProperties>
</file>